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89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pos="7197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7676"/>
    <a:srgbClr val="484848"/>
    <a:srgbClr val="FC642D"/>
    <a:srgbClr val="00A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241" autoAdjust="0"/>
  </p:normalViewPr>
  <p:slideViewPr>
    <p:cSldViewPr snapToGrid="0">
      <p:cViewPr varScale="1">
        <p:scale>
          <a:sx n="65" d="100"/>
          <a:sy n="65" d="100"/>
        </p:scale>
        <p:origin x="66" y="222"/>
      </p:cViewPr>
      <p:guideLst>
        <p:guide pos="3840"/>
        <p:guide pos="719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187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D0CCEB-DFF8-417B-A87A-90F3D79059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FFE758-9C44-40AF-9D52-A7EF39200D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6ADB54-F1AF-44F8-8ED0-867524639FE1}" type="datetimeFigureOut">
              <a:rPr lang="en-US" smtClean="0"/>
              <a:t>10/30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224329-C497-4EFE-8EB2-F22CD57F39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4C25EC-D008-42CF-845E-C895CC9B32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2E2A0-273F-4DCF-AF0B-3CFADE889CA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7201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7E5575-CAFE-4A42-A774-E4652BA723C1}" type="datetimeFigureOut">
              <a:rPr lang="en-US" smtClean="0"/>
              <a:t>10/3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9DC9BE-8102-4ADA-9C69-422E2361041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949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90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2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3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4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5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6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7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8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9" name="Group 8"/>
          <p:cNvGrpSpPr/>
          <p:nvPr/>
        </p:nvGrpSpPr>
        <p:grpSpPr>
          <a:xfrm>
            <a:off x="1669293" y="1186483"/>
            <a:ext cx="8848345" cy="4477933"/>
            <a:chOff x="1669293" y="1186483"/>
            <a:chExt cx="8848345" cy="4477933"/>
          </a:xfrm>
        </p:grpSpPr>
        <p:sp>
          <p:nvSpPr>
            <p:cNvPr id="39" name="Rectangle 38"/>
            <p:cNvSpPr/>
            <p:nvPr/>
          </p:nvSpPr>
          <p:spPr>
            <a:xfrm>
              <a:off x="1674042" y="1186483"/>
              <a:ext cx="8843596" cy="716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0" name="Isosceles Triangle 39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1" name="Rectangle 40"/>
            <p:cNvSpPr/>
            <p:nvPr/>
          </p:nvSpPr>
          <p:spPr>
            <a:xfrm>
              <a:off x="1669293" y="1991156"/>
              <a:ext cx="8845667" cy="3322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9236" y="2075504"/>
            <a:ext cx="8679915" cy="1748729"/>
          </a:xfrm>
        </p:spPr>
        <p:txBody>
          <a:bodyPr bIns="0" anchor="b">
            <a:normAutofit/>
          </a:bodyPr>
          <a:lstStyle>
            <a:lvl1pPr algn="ctr">
              <a:lnSpc>
                <a:spcPct val="80000"/>
              </a:lnSpc>
              <a:defRPr sz="5400" spc="-15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9237" y="3906266"/>
            <a:ext cx="8673427" cy="1322587"/>
          </a:xfrm>
        </p:spPr>
        <p:txBody>
          <a:bodyPr t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rgbClr val="FFFEFF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 vert="horz" lIns="91440" tIns="45720" rIns="91440" bIns="45720" rtlCol="0" anchor="ctr"/>
          <a:lstStyle>
            <a:lvl1pPr>
              <a:defRPr lang="en-US"/>
            </a:lvl1pPr>
          </a:lstStyle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>
            <a:lvl1pPr algn="ctr">
              <a:defRPr/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4695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40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1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2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3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4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5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6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7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8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9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0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1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2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3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4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5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6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7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8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9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60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61" name="Group 60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62" name="Rectangle 61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3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4" name="Rectangle 63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1" y="2363915"/>
            <a:ext cx="3500828" cy="2460497"/>
          </a:xfrm>
        </p:spPr>
        <p:txBody>
          <a:bodyPr lIns="91440" tIns="91440" rIns="91440" bIns="91440"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5137" y="803185"/>
            <a:ext cx="6265088" cy="6858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25305" y="1488985"/>
            <a:ext cx="6264350" cy="1696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8653" y="3665887"/>
            <a:ext cx="6264414" cy="6858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8447" y="4351687"/>
            <a:ext cx="6265588" cy="170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61384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78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4" name="Group 23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5" name="Rectangle 24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6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2" y="2349925"/>
            <a:ext cx="3501196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4924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05969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75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6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7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8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1" name="Group 20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2" name="Rectangle 21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32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52026"/>
            <a:ext cx="3501197" cy="1223298"/>
          </a:xfrm>
        </p:spPr>
        <p:txBody>
          <a:bodyPr bIns="0" anchor="b">
            <a:noAutofit/>
          </a:bodyPr>
          <a:lstStyle>
            <a:lvl1pPr algn="ctr">
              <a:defRPr sz="32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9983" y="802809"/>
            <a:ext cx="6275035" cy="524994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8631" y="3580186"/>
            <a:ext cx="3501197" cy="1221164"/>
          </a:xfrm>
        </p:spPr>
        <p:txBody>
          <a:bodyPr/>
          <a:lstStyle>
            <a:lvl1pPr marL="0" indent="0" algn="ctr">
              <a:buNone/>
              <a:defRPr sz="1600">
                <a:solidFill>
                  <a:srgbClr val="FFFE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06202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81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76" name="Group 75"/>
          <p:cNvGrpSpPr/>
          <p:nvPr/>
        </p:nvGrpSpPr>
        <p:grpSpPr>
          <a:xfrm>
            <a:off x="805336" y="1698331"/>
            <a:ext cx="5941540" cy="3470421"/>
            <a:chOff x="805336" y="1698331"/>
            <a:chExt cx="5941540" cy="3470421"/>
          </a:xfrm>
        </p:grpSpPr>
        <p:sp>
          <p:nvSpPr>
            <p:cNvPr id="77" name="Rectangle 76"/>
            <p:cNvSpPr/>
            <p:nvPr/>
          </p:nvSpPr>
          <p:spPr>
            <a:xfrm>
              <a:off x="805336" y="1698331"/>
              <a:ext cx="5941540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78" name="Isosceles Triangle 9"/>
            <p:cNvSpPr/>
            <p:nvPr/>
          </p:nvSpPr>
          <p:spPr>
            <a:xfrm rot="10800000">
              <a:off x="3618113" y="4896349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79" name="Rectangle 78"/>
            <p:cNvSpPr/>
            <p:nvPr/>
          </p:nvSpPr>
          <p:spPr>
            <a:xfrm>
              <a:off x="805336" y="2274403"/>
              <a:ext cx="5941540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43510" y="0"/>
            <a:ext cx="4648490" cy="6858000"/>
          </a:xfrm>
          <a:solidFill>
            <a:schemeClr val="bg1">
              <a:lumMod val="65000"/>
              <a:lumOff val="3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5443" y="2360255"/>
            <a:ext cx="5776646" cy="1178032"/>
          </a:xfrm>
        </p:spPr>
        <p:txBody>
          <a:bodyPr bIns="0" anchor="b">
            <a:normAutofit/>
          </a:bodyPr>
          <a:lstStyle>
            <a:lvl1pPr>
              <a:defRPr sz="36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5443" y="3545012"/>
            <a:ext cx="5776646" cy="127419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FFFE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5942203" cy="320040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828377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40712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76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7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8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2" name="Group 21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3" name="Rectangle 22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4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2" y="2349925"/>
            <a:ext cx="3501196" cy="2456441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09983" y="794719"/>
            <a:ext cx="6275035" cy="525709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62183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 flipH="1">
            <a:off x="0" y="0"/>
            <a:ext cx="12584114" cy="6853238"/>
            <a:chOff x="-417513" y="0"/>
            <a:chExt cx="12584114" cy="6853238"/>
          </a:xfrm>
        </p:grpSpPr>
        <p:sp>
          <p:nvSpPr>
            <p:cNvPr id="76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7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8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2" name="Group 21"/>
          <p:cNvGrpSpPr/>
          <p:nvPr/>
        </p:nvGrpSpPr>
        <p:grpSpPr>
          <a:xfrm>
            <a:off x="7718948" y="1699589"/>
            <a:ext cx="3674476" cy="3470421"/>
            <a:chOff x="697883" y="1816768"/>
            <a:chExt cx="3674476" cy="3470421"/>
          </a:xfrm>
        </p:grpSpPr>
        <p:sp>
          <p:nvSpPr>
            <p:cNvPr id="23" name="Rectangle 22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4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7437" y="2349925"/>
            <a:ext cx="3501195" cy="2456442"/>
          </a:xfrm>
        </p:spPr>
        <p:txBody>
          <a:bodyPr vert="eaVert"/>
          <a:lstStyle>
            <a:lvl1pPr algn="l">
              <a:lnSpc>
                <a:spcPct val="80000"/>
              </a:lnSpc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2747" y="798444"/>
            <a:ext cx="6268622" cy="525730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7803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90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2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3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4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5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6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7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8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9" name="Group 8"/>
          <p:cNvGrpSpPr/>
          <p:nvPr/>
        </p:nvGrpSpPr>
        <p:grpSpPr>
          <a:xfrm>
            <a:off x="1669293" y="1186483"/>
            <a:ext cx="8848345" cy="4477933"/>
            <a:chOff x="1669293" y="1186483"/>
            <a:chExt cx="8848345" cy="4477933"/>
          </a:xfrm>
        </p:grpSpPr>
        <p:sp>
          <p:nvSpPr>
            <p:cNvPr id="39" name="Rectangle 38"/>
            <p:cNvSpPr/>
            <p:nvPr/>
          </p:nvSpPr>
          <p:spPr>
            <a:xfrm>
              <a:off x="1674042" y="1186483"/>
              <a:ext cx="8843596" cy="716184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0" name="Isosceles Triangle 39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1" name="Rectangle 40"/>
            <p:cNvSpPr/>
            <p:nvPr/>
          </p:nvSpPr>
          <p:spPr>
            <a:xfrm>
              <a:off x="1669293" y="1991156"/>
              <a:ext cx="8845667" cy="3322196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9236" y="2075504"/>
            <a:ext cx="8679915" cy="1748729"/>
          </a:xfrm>
        </p:spPr>
        <p:txBody>
          <a:bodyPr bIns="0" anchor="b">
            <a:normAutofit/>
          </a:bodyPr>
          <a:lstStyle>
            <a:lvl1pPr algn="ctr">
              <a:lnSpc>
                <a:spcPct val="80000"/>
              </a:lnSpc>
              <a:defRPr sz="5400" spc="-15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9237" y="3906266"/>
            <a:ext cx="8673427" cy="1322587"/>
          </a:xfrm>
        </p:spPr>
        <p:txBody>
          <a:bodyPr t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rgbClr val="FFFEFF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 vert="horz" lIns="91440" tIns="45720" rIns="91440" bIns="45720" rtlCol="0" anchor="ctr"/>
          <a:lstStyle>
            <a:lvl1pPr>
              <a:defRPr lang="en-US"/>
            </a:lvl1pPr>
          </a:lstStyle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>
            <a:lvl1pPr algn="ctr">
              <a:defRPr/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3954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9780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00A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rgbClr val="00A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00A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>
            <a:lvl1pPr>
              <a:buClr>
                <a:srgbClr val="00A699"/>
              </a:buClr>
              <a:defRPr/>
            </a:lvl1pPr>
            <a:lvl2pPr>
              <a:buClr>
                <a:srgbClr val="00A699"/>
              </a:buClr>
              <a:defRPr/>
            </a:lvl2pPr>
            <a:lvl3pPr>
              <a:buClr>
                <a:srgbClr val="00A699"/>
              </a:buClr>
              <a:defRPr/>
            </a:lvl3pPr>
            <a:lvl4pPr>
              <a:buClr>
                <a:srgbClr val="00A699"/>
              </a:buClr>
              <a:defRPr/>
            </a:lvl4pPr>
            <a:lvl5pPr>
              <a:buClr>
                <a:srgbClr val="00A699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9796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FC6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rgbClr val="FC6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FC64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>
            <a:lvl1pPr>
              <a:buClr>
                <a:srgbClr val="FC642D"/>
              </a:buClr>
              <a:defRPr/>
            </a:lvl1pPr>
            <a:lvl2pPr>
              <a:buClr>
                <a:srgbClr val="FC642D"/>
              </a:buClr>
              <a:defRPr/>
            </a:lvl2pPr>
            <a:lvl3pPr>
              <a:buClr>
                <a:srgbClr val="FC642D"/>
              </a:buClr>
              <a:defRPr/>
            </a:lvl3pPr>
            <a:lvl4pPr>
              <a:buClr>
                <a:srgbClr val="FC642D"/>
              </a:buClr>
              <a:defRPr/>
            </a:lvl4pPr>
            <a:lvl5pPr>
              <a:buClr>
                <a:srgbClr val="FC642D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1121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4848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rgbClr val="4848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4848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>
            <a:lvl1pPr>
              <a:buClr>
                <a:srgbClr val="484848"/>
              </a:buClr>
              <a:defRPr/>
            </a:lvl1pPr>
            <a:lvl2pPr>
              <a:buClr>
                <a:srgbClr val="484848"/>
              </a:buClr>
              <a:defRPr/>
            </a:lvl2pPr>
            <a:lvl3pPr>
              <a:buClr>
                <a:srgbClr val="484848"/>
              </a:buClr>
              <a:defRPr/>
            </a:lvl3pPr>
            <a:lvl4pPr>
              <a:buClr>
                <a:srgbClr val="484848"/>
              </a:buClr>
              <a:defRPr/>
            </a:lvl4pPr>
            <a:lvl5pPr>
              <a:buClr>
                <a:srgbClr val="484848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9372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>
            <a:lvl1pPr>
              <a:buClr>
                <a:srgbClr val="767676"/>
              </a:buClr>
              <a:defRPr/>
            </a:lvl1pPr>
            <a:lvl2pPr>
              <a:buClr>
                <a:srgbClr val="767676"/>
              </a:buClr>
              <a:defRPr/>
            </a:lvl2pPr>
            <a:lvl3pPr>
              <a:buClr>
                <a:srgbClr val="767676"/>
              </a:buClr>
              <a:defRPr/>
            </a:lvl3pPr>
            <a:lvl4pPr>
              <a:buClr>
                <a:srgbClr val="767676"/>
              </a:buClr>
              <a:defRPr/>
            </a:lvl4pPr>
            <a:lvl5pPr>
              <a:buClr>
                <a:srgbClr val="767676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8189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78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9" name="Group 8"/>
          <p:cNvGrpSpPr/>
          <p:nvPr/>
        </p:nvGrpSpPr>
        <p:grpSpPr>
          <a:xfrm>
            <a:off x="3259545" y="1186483"/>
            <a:ext cx="5666145" cy="4477933"/>
            <a:chOff x="3259545" y="1186483"/>
            <a:chExt cx="5666145" cy="4477933"/>
          </a:xfrm>
        </p:grpSpPr>
        <p:sp>
          <p:nvSpPr>
            <p:cNvPr id="99" name="Rectangle 98"/>
            <p:cNvSpPr/>
            <p:nvPr/>
          </p:nvSpPr>
          <p:spPr>
            <a:xfrm>
              <a:off x="3259545" y="1186483"/>
              <a:ext cx="5657881" cy="716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0" name="Isosceles Triangle 39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1" name="Rectangle 100"/>
            <p:cNvSpPr/>
            <p:nvPr/>
          </p:nvSpPr>
          <p:spPr>
            <a:xfrm>
              <a:off x="3259545" y="1991156"/>
              <a:ext cx="5666145" cy="3322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216" y="2074730"/>
            <a:ext cx="5490224" cy="1689390"/>
          </a:xfrm>
        </p:spPr>
        <p:txBody>
          <a:bodyPr bIns="0" anchor="b">
            <a:normAutofit/>
          </a:bodyPr>
          <a:lstStyle>
            <a:lvl1pPr algn="ctr">
              <a:defRPr sz="44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215" y="3846851"/>
            <a:ext cx="5490223" cy="1383770"/>
          </a:xfrm>
        </p:spPr>
        <p:txBody>
          <a:bodyPr tIns="0">
            <a:normAutofit/>
          </a:bodyPr>
          <a:lstStyle>
            <a:lvl1pPr marL="0" indent="0" algn="ctr">
              <a:buNone/>
              <a:defRPr sz="1800">
                <a:solidFill>
                  <a:srgbClr val="FFFE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>
            <a:lvl1pPr algn="ctr">
              <a:defRPr/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73703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38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9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0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1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2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3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4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5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6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7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8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9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0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1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2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3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4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5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6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7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8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59" name="Group 58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60" name="Rectangle 59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1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2" name="Rectangle 61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2339669"/>
            <a:ext cx="3500828" cy="2470065"/>
          </a:xfrm>
        </p:spPr>
        <p:txBody>
          <a:bodyPr lIns="91440" tIns="91440" rIns="91440" bIns="91440"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0878" y="803187"/>
            <a:ext cx="6269591" cy="23826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8447" y="3672162"/>
            <a:ext cx="6272022" cy="2383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6666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1161" y="2358391"/>
            <a:ext cx="3498667" cy="2456485"/>
          </a:xfrm>
          <a:prstGeom prst="rect">
            <a:avLst/>
          </a:prstGeom>
        </p:spPr>
        <p:txBody>
          <a:bodyPr vert="horz" lIns="228600" tIns="228600" rIns="228600" bIns="22860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34982" y="794719"/>
            <a:ext cx="5950036" cy="52570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4672" y="320040"/>
            <a:ext cx="36576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C9F280-24DB-415F-8DF8-72D7FF3C4BF0}" type="datetimeFigureOut">
              <a:rPr lang="en-US" noProof="0" smtClean="0"/>
              <a:t>10/30/2021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0A9A2B-DCEA-459B-8067-44D042050D8C}" type="slidenum">
              <a:rPr lang="en-US" noProof="0" smtClean="0"/>
              <a:t>‹#›</a:t>
            </a:fld>
            <a:endParaRPr lang="en-US" noProof="0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EB03C69-6232-4677-819E-0FD711D2A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0500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20" imgW="410" imgH="409" progId="TCLayout.ActiveDocument.1">
                  <p:embed/>
                </p:oleObj>
              </mc:Choice>
              <mc:Fallback>
                <p:oleObj name="think-cell Slide" r:id="rId20" imgW="410" imgH="40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A1FE79-22BE-4C04-882A-821191525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694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06" r:id="rId2"/>
    <p:sldLayoutId id="2147483891" r:id="rId3"/>
    <p:sldLayoutId id="2147483902" r:id="rId4"/>
    <p:sldLayoutId id="2147483903" r:id="rId5"/>
    <p:sldLayoutId id="2147483904" r:id="rId6"/>
    <p:sldLayoutId id="2147483905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</p:sldLayoutIdLst>
  <p:txStyles>
    <p:titleStyle>
      <a:lvl1pPr algn="ctr" defTabSz="914400" rtl="0" eaLnBrk="1" latinLnBrk="0" hangingPunct="1">
        <a:lnSpc>
          <a:spcPct val="85000"/>
        </a:lnSpc>
        <a:spcBef>
          <a:spcPct val="0"/>
        </a:spcBef>
        <a:buNone/>
        <a:defRPr sz="4000" b="0" i="0" kern="1200" cap="none" spc="-15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2143E-B092-41BC-9108-88A896C287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930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B51105-30FC-4AF3-9588-03449DC2E339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422275" y="55248"/>
            <a:ext cx="11347450" cy="6802752"/>
          </a:xfrm>
        </p:spPr>
        <p:txBody>
          <a:bodyPr vert="horz">
            <a:normAutofit fontScale="90000"/>
          </a:bodyPr>
          <a:lstStyle/>
          <a:p>
            <a:pPr algn="l"/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(1) Topic model -&gt; output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Functional mapping:     F(topics) -&gt; Overall rating (at product/review)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Sentence 1: Topic 1 (Categorical dummy) -&gt; Liking weight: Defined by Attribute/Product (W-Topic1-Product1)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Sentence 2: Topic 2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Sentence 3: Topic 3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Sentence 4: Topic 4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        x            :  Topic 5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Overall rating(j, r) =  W(1,1) * Topic1  + W(1,2) *  Topic2   +  W(1,3) *  Topic3   + W(1,4) * Topic4   + W(1,5)*  Topic5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j:  product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r: review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W(</a:t>
            </a:r>
            <a:r>
              <a:rPr lang="en-US" sz="1600" dirty="0" err="1">
                <a:solidFill>
                  <a:schemeClr val="tx1"/>
                </a:solidFill>
              </a:rPr>
              <a:t>j,t</a:t>
            </a:r>
            <a:r>
              <a:rPr lang="en-US" sz="1600" dirty="0">
                <a:solidFill>
                  <a:schemeClr val="tx1"/>
                </a:solidFill>
              </a:rPr>
              <a:t>): product j, topic t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W(</a:t>
            </a:r>
            <a:r>
              <a:rPr lang="en-US" sz="1600" dirty="0" err="1">
                <a:solidFill>
                  <a:schemeClr val="tx1"/>
                </a:solidFill>
              </a:rPr>
              <a:t>j,t</a:t>
            </a:r>
            <a:r>
              <a:rPr lang="en-US" sz="1600" dirty="0">
                <a:solidFill>
                  <a:schemeClr val="tx1"/>
                </a:solidFill>
              </a:rPr>
              <a:t>) is common across reviews for same product </a:t>
            </a:r>
            <a:br>
              <a:rPr lang="en-US" sz="1600" dirty="0">
                <a:solidFill>
                  <a:schemeClr val="tx1"/>
                </a:solidFill>
              </a:rPr>
            </a:b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ext step)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- (1) Refine modeling approach: decompose importance from attribute sentiment score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- (2) How to handle a missing topic (attribute)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W – 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Attribute importance (common) x product attribute score  (1-5)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Topic 1: picture quality,   battery life 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      - Picture quality: best, ok, bad (3 levels)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       - Battery life: good vs. bad (2 levels)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       - Importance of attributes: difference between min/max levels 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Utility of product j (Any product) = 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	a1(</a:t>
            </a:r>
            <a:r>
              <a:rPr lang="en-US" sz="1600" dirty="0" err="1">
                <a:solidFill>
                  <a:schemeClr val="accent1">
                    <a:lumMod val="75000"/>
                  </a:schemeClr>
                </a:solidFill>
              </a:rPr>
              <a:t>pq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) * I(picture quality=best) + a2(</a:t>
            </a:r>
            <a:r>
              <a:rPr lang="en-US" sz="1600" dirty="0" err="1">
                <a:solidFill>
                  <a:schemeClr val="accent1">
                    <a:lumMod val="75000"/>
                  </a:schemeClr>
                </a:solidFill>
              </a:rPr>
              <a:t>pq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) *I(picture quality=ok) + a3(</a:t>
            </a:r>
            <a:r>
              <a:rPr lang="en-US" sz="1600" dirty="0" err="1">
                <a:solidFill>
                  <a:schemeClr val="accent1">
                    <a:lumMod val="75000"/>
                  </a:schemeClr>
                </a:solidFill>
              </a:rPr>
              <a:t>pq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)  * I(picture quality=bad) 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                                          +b1(bl) * (battery life = good) + b2(bl) * (battery life = bad)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Example) Product 1 – best picture quality  + bad battery life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Utility for product 1 = a1(</a:t>
            </a:r>
            <a:r>
              <a:rPr lang="en-US" sz="1600" dirty="0" err="1">
                <a:solidFill>
                  <a:schemeClr val="accent1">
                    <a:lumMod val="75000"/>
                  </a:schemeClr>
                </a:solidFill>
              </a:rPr>
              <a:t>pq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) * I(picture quality=best) + b2(bl) * (battery life = bad) </a:t>
            </a:r>
            <a:br>
              <a:rPr lang="en-US" sz="1600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04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tlas">
  <a:themeElements>
    <a:clrScheme name="Custom 6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FF5A5F"/>
      </a:accent1>
      <a:accent2>
        <a:srgbClr val="00A699"/>
      </a:accent2>
      <a:accent3>
        <a:srgbClr val="FC642D"/>
      </a:accent3>
      <a:accent4>
        <a:srgbClr val="00A699"/>
      </a:accent4>
      <a:accent5>
        <a:srgbClr val="767676"/>
      </a:accent5>
      <a:accent6>
        <a:srgbClr val="D54773"/>
      </a:accent6>
      <a:hlink>
        <a:srgbClr val="6B9F25"/>
      </a:hlink>
      <a:folHlink>
        <a:srgbClr val="8C8C8C"/>
      </a:folHlink>
    </a:clrScheme>
    <a:fontScheme name="Atlas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tlas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alpha val="60000"/>
                <a:satMod val="109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0000"/>
            </a:schemeClr>
          </a:solidFill>
          <a:prstDash val="solid"/>
        </a:ln>
        <a:ln w="15875" cap="flat" cmpd="sng" algn="ctr">
          <a:solidFill>
            <a:schemeClr val="phClr">
              <a:shade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0" h="0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10000">
              <a:schemeClr val="phClr">
                <a:tint val="94000"/>
                <a:lumMod val="116000"/>
              </a:schemeClr>
            </a:gs>
            <a:gs pos="100000">
              <a:schemeClr val="phClr">
                <a:tint val="98000"/>
                <a:shade val="86000"/>
                <a:satMod val="90000"/>
                <a:lumMod val="88000"/>
              </a:schemeClr>
            </a:gs>
          </a:gsLst>
          <a:path path="circle">
            <a:fillToRect l="50000" t="15000" r="50000" b="169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las" id="{5156B0E4-0EB1-49FE-A26B-15F6F698AEC6}" vid="{C0CB9708-C445-4049-9D7F-4C8684E69A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6599C0-B0B6-415D-9B63-E273EEA0EBF7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83B6EBAF-D3F1-4C38-B9E9-9D4DBDA1397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E0056C-22F7-43F0-A6CE-AE8B59378E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6401371[[fn=Atlas]]</Template>
  <TotalTime>1675</TotalTime>
  <Words>383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Calibri</vt:lpstr>
      <vt:lpstr>Calibri Light</vt:lpstr>
      <vt:lpstr>Rockwell</vt:lpstr>
      <vt:lpstr>Wingdings</vt:lpstr>
      <vt:lpstr>Atlas</vt:lpstr>
      <vt:lpstr>think-cell Slide</vt:lpstr>
      <vt:lpstr>     (1) Topic model -&gt; output  Functional mapping:     F(topics) -&gt; Overall rating (at product/review)  Sentence 1: Topic 1 (Categorical dummy) -&gt; Liking weight: Defined by Attribute/Product (W-Topic1-Product1)   Sentence 2: Topic 2 Sentence 3: Topic 3 Sentence 4: Topic 4         x            :  Topic 5  Overall rating(j, r) =  W(1,1) * Topic1  + W(1,2) *  Topic2   +  W(1,3) *  Topic3   + W(1,4) * Topic4   + W(1,5)*  Topic5  j:  product r: review  W(j,t): product j, topic t  W(j,t) is common across reviews for same product   Next step) - (1) Refine modeling approach: decompose importance from attribute sentiment score - (2) How to handle a missing topic (attribute)  W – Attribute importance (common) x product attribute score  (1-5)  Topic 1: picture quality,   battery life        - Picture quality: best, ok, bad (3 levels)        - Battery life: good vs. bad (2 levels)        - Importance of attributes: difference between min/max levels   Utility of product j (Any product) =   a1(pq) * I(picture quality=best) + a2(pq) *I(picture quality=ok) + a3(pq)  * I(picture quality=bad)                                            +b1(bl) * (battery life = good) + b2(bl) * (battery life = bad)  Example) Product 1 – best picture quality  + bad battery life Utility for product 1 = a1(pq) * I(picture quality=best) + b2(bl) * (battery life = bad)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tch Deck</dc:title>
  <dc:creator>Paras Jain</dc:creator>
  <cp:lastModifiedBy>Minha Hwang</cp:lastModifiedBy>
  <cp:revision>6</cp:revision>
  <dcterms:created xsi:type="dcterms:W3CDTF">2021-09-30T04:20:51Z</dcterms:created>
  <dcterms:modified xsi:type="dcterms:W3CDTF">2021-10-30T21:0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